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</p:sldMasterIdLst>
  <p:notesMasterIdLst>
    <p:notesMasterId r:id="rId6"/>
  </p:notesMasterIdLst>
  <p:sldIdLst>
    <p:sldId id="315" r:id="rId2"/>
    <p:sldId id="313" r:id="rId3"/>
    <p:sldId id="316" r:id="rId4"/>
    <p:sldId id="318" r:id="rId5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18" userDrawn="1">
          <p15:clr>
            <a:srgbClr val="A4A3A4"/>
          </p15:clr>
        </p15:guide>
        <p15:guide id="2" pos="16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7B6"/>
    <a:srgbClr val="E7E6E6"/>
    <a:srgbClr val="595959"/>
    <a:srgbClr val="9B9D9D"/>
    <a:srgbClr val="9E9F9F"/>
    <a:srgbClr val="6E6E6E"/>
    <a:srgbClr val="759FCC"/>
    <a:srgbClr val="F17E00"/>
    <a:srgbClr val="898989"/>
    <a:srgbClr val="8E8E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Средний стиль 4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460" autoAdjust="0"/>
    <p:restoredTop sz="96048" autoAdjust="0"/>
  </p:normalViewPr>
  <p:slideViewPr>
    <p:cSldViewPr snapToGrid="0">
      <p:cViewPr varScale="1">
        <p:scale>
          <a:sx n="110" d="100"/>
          <a:sy n="110" d="100"/>
        </p:scale>
        <p:origin x="834" y="72"/>
      </p:cViewPr>
      <p:guideLst>
        <p:guide orient="horz" pos="2818"/>
        <p:guide pos="1663"/>
      </p:guideLst>
    </p:cSldViewPr>
  </p:slideViewPr>
  <p:notesTextViewPr>
    <p:cViewPr>
      <p:scale>
        <a:sx n="75" d="100"/>
        <a:sy n="75" d="100"/>
      </p:scale>
      <p:origin x="0" y="0"/>
    </p:cViewPr>
  </p:notesTextViewPr>
  <p:notesViewPr>
    <p:cSldViewPr snapToGrid="0">
      <p:cViewPr varScale="1">
        <p:scale>
          <a:sx n="79" d="100"/>
          <a:sy n="79" d="100"/>
        </p:scale>
        <p:origin x="216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4D9883-0807-4005-9F68-7E64826AB418}" type="datetimeFigureOut">
              <a:rPr lang="ru-RU" smtClean="0"/>
              <a:t>13.10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4" y="4777615"/>
            <a:ext cx="5438775" cy="3907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24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24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6C3879-601A-4437-8C17-4A2CECBF46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81924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79884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0300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63485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5688" y="6453064"/>
            <a:ext cx="7153216" cy="15549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11862984" y="6669360"/>
            <a:ext cx="271066" cy="158654"/>
          </a:xfrm>
          <a:ln/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fld id="{0D029BF2-24B2-48BC-B71B-DE3A65B5FA4D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ru-RU">
                <a:solidFill>
                  <a:srgbClr val="000000"/>
                </a:solidFill>
              </a:rPr>
              <a:t> </a:t>
            </a: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4241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6536601" y="60187"/>
            <a:ext cx="56554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ОНЦЕПЦИЯ СТРАТЕГИИ РАЗВИТИЯ</a:t>
            </a:r>
            <a:r>
              <a:rPr lang="en-US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АНКА «КУБ» (АО) НА 2019-2021гг.</a:t>
            </a: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011421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33245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89482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8377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212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36145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23971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78492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8547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4673600"/>
            <a:ext cx="12192000" cy="2184399"/>
          </a:xfrm>
          <a:prstGeom prst="rect">
            <a:avLst/>
          </a:prstGeom>
          <a:solidFill>
            <a:srgbClr val="0057B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0304817" y="6417547"/>
            <a:ext cx="1887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www.creditural.ru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54BE97-19FA-45BB-8A0C-D870D4D87A13}"/>
              </a:ext>
            </a:extLst>
          </p:cNvPr>
          <p:cNvSpPr txBox="1"/>
          <p:nvPr/>
        </p:nvSpPr>
        <p:spPr>
          <a:xfrm>
            <a:off x="2906084" y="2305615"/>
            <a:ext cx="680120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0057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CMG XS142J (каток дорожный), 2014г. выпуска, заводской № машины (рамы): XUG01423TDJE03696, двигатель №: D913A026222, цвет желто-черный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537" y="256890"/>
            <a:ext cx="2262426" cy="562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2723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2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100D4B12-D556-44A9-BEDA-02CD899180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8480458"/>
              </p:ext>
            </p:extLst>
          </p:nvPr>
        </p:nvGraphicFramePr>
        <p:xfrm>
          <a:off x="390828" y="1369363"/>
          <a:ext cx="11252532" cy="2518201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30821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704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8913">
                <a:tc>
                  <a:txBody>
                    <a:bodyPr/>
                    <a:lstStyle/>
                    <a:p>
                      <a:r>
                        <a:rPr lang="ru-RU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b="0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CMG XS142J (каток дорожный)</a:t>
                      </a:r>
                      <a:endParaRPr lang="ru-RU" sz="1000" b="0" baseline="30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8495">
                <a:tc>
                  <a:txBody>
                    <a:bodyPr/>
                    <a:lstStyle/>
                    <a:p>
                      <a:r>
                        <a:rPr lang="ru-RU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 выпуска 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863">
                <a:tc>
                  <a:txBody>
                    <a:bodyPr/>
                    <a:lstStyle/>
                    <a:p>
                      <a:pPr marL="0" marR="0" lvl="0" indent="0" algn="l" defTabSz="9144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N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UG01423TDJE0369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вет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лто-черный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b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тегория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endParaRPr lang="ru-RU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9503">
                <a:tc>
                  <a:txBody>
                    <a:bodyPr/>
                    <a:lstStyle/>
                    <a:p>
                      <a:r>
                        <a:rPr lang="ru-RU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мер двигателя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913A026222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b="1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есная формула 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endParaRPr lang="ru-RU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b="1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ансмиссия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6318">
                <a:tc>
                  <a:txBody>
                    <a:bodyPr/>
                    <a:lstStyle/>
                    <a:p>
                      <a:r>
                        <a:rPr lang="ru-RU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бег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endParaRPr lang="ru-RU" sz="1000" b="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87022">
                <a:tc>
                  <a:txBody>
                    <a:bodyPr/>
                    <a:lstStyle/>
                    <a:p>
                      <a:r>
                        <a:rPr lang="ru-RU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ническое состояние</a:t>
                      </a:r>
                      <a:r>
                        <a:rPr lang="ru-RU" sz="1000" b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endParaRPr lang="ru-RU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71202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3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9C7EBBC-BF63-4097-A61A-5B4CC46415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1516" y="984334"/>
            <a:ext cx="7668968" cy="5751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8921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4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382478C-D8DE-4F20-BCC1-C3A3A8B3C1E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231" y="959295"/>
            <a:ext cx="4814026" cy="5743415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CDAE254-B64B-4836-B75F-1DC23567A4C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8478" y="959295"/>
            <a:ext cx="4304687" cy="5739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8671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6XQsEryEGR5qw8UBcS6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808</TotalTime>
  <Words>57</Words>
  <Application>Microsoft Office PowerPoint</Application>
  <PresentationFormat>Широкоэкранный</PresentationFormat>
  <Paragraphs>20</Paragraphs>
  <Slides>4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9" baseType="lpstr">
      <vt:lpstr>Arial</vt:lpstr>
      <vt:lpstr>Arial Narrow</vt:lpstr>
      <vt:lpstr>Calibri</vt:lpstr>
      <vt:lpstr>Calibri Light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Немыкина Наталья Сергеевна</dc:creator>
  <cp:lastModifiedBy>Комарова Ксения Олеговна</cp:lastModifiedBy>
  <cp:revision>1019</cp:revision>
  <cp:lastPrinted>2018-11-28T04:22:12Z</cp:lastPrinted>
  <dcterms:created xsi:type="dcterms:W3CDTF">2018-08-31T10:58:07Z</dcterms:created>
  <dcterms:modified xsi:type="dcterms:W3CDTF">2025-10-13T07:54:15Z</dcterms:modified>
</cp:coreProperties>
</file>